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2"/>
  </p:sldMasterIdLst>
  <p:notesMasterIdLst>
    <p:notesMasterId r:id="rId20"/>
  </p:notesMasterIdLst>
  <p:sldIdLst>
    <p:sldId id="280" r:id="rId3"/>
    <p:sldId id="407" r:id="rId4"/>
    <p:sldId id="406" r:id="rId5"/>
    <p:sldId id="408" r:id="rId6"/>
    <p:sldId id="416" r:id="rId7"/>
    <p:sldId id="415" r:id="rId8"/>
    <p:sldId id="409" r:id="rId9"/>
    <p:sldId id="417" r:id="rId10"/>
    <p:sldId id="418" r:id="rId11"/>
    <p:sldId id="419" r:id="rId12"/>
    <p:sldId id="412" r:id="rId13"/>
    <p:sldId id="420" r:id="rId14"/>
    <p:sldId id="413" r:id="rId15"/>
    <p:sldId id="414" r:id="rId16"/>
    <p:sldId id="421" r:id="rId17"/>
    <p:sldId id="422" r:id="rId18"/>
    <p:sldId id="39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79" autoAdjust="0"/>
    <p:restoredTop sz="95250" autoAdjust="0"/>
  </p:normalViewPr>
  <p:slideViewPr>
    <p:cSldViewPr snapToGrid="0">
      <p:cViewPr varScale="1">
        <p:scale>
          <a:sx n="83" d="100"/>
          <a:sy n="83" d="100"/>
        </p:scale>
        <p:origin x="84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F3C7AD-5985-4D5D-889F-35871CFD755E}" type="datetimeFigureOut">
              <a:rPr lang="en-IN" smtClean="0"/>
              <a:t>07-04-2020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B2C29A-A783-4848-95D3-B4ED5FA7ADD4}" type="slidenum">
              <a:rPr lang="en-IN" smtClean="0"/>
              <a:t>‹#›</a:t>
            </a:fld>
            <a:endParaRPr lang="en-I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D3B73-470F-4A78-B31A-BBEB2CBE3796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0600A-1E3B-4D7D-BC3A-1B12C56040AE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35A78B-4440-45BF-9605-9BB811702FBA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40490" y="1122363"/>
            <a:ext cx="641331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40490" y="3602038"/>
            <a:ext cx="64133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087E1-9793-4F2A-B6D9-5824D40E5295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11" y="1122363"/>
            <a:ext cx="2601604" cy="830035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3821373" y="968991"/>
            <a:ext cx="0" cy="4831308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53846"/>
            <a:ext cx="10515600" cy="103684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5C357-9733-4AD2-809C-547C68F7C3DF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1188720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5056828" y="6515967"/>
            <a:ext cx="163538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/>
              <a:t>iGloble Confidential 2016</a:t>
            </a:r>
            <a:endParaRPr lang="en-IN" sz="11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B8CD55-CCDF-4773-A304-BE857A96E4FA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53846"/>
            <a:ext cx="10515600" cy="103684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06E46-07A2-4227-8983-FED11C3C656C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837073" y="0"/>
            <a:ext cx="18653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200" b="1" dirty="0">
                <a:solidFill>
                  <a:srgbClr val="0070C0"/>
                </a:solidFill>
              </a:rPr>
              <a:t>iota</a:t>
            </a:r>
            <a:r>
              <a:rPr lang="en-IN" sz="3200" b="1" dirty="0">
                <a:solidFill>
                  <a:srgbClr val="00B050"/>
                </a:solidFill>
              </a:rPr>
              <a:t>Smart</a:t>
            </a:r>
            <a:endParaRPr lang="en-IN" sz="3200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641146"/>
            <a:ext cx="10515600" cy="104954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28A8FB-E5F5-4489-9900-8B2C2F277286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837073" y="0"/>
            <a:ext cx="18653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200" b="1" dirty="0">
                <a:solidFill>
                  <a:srgbClr val="0070C0"/>
                </a:solidFill>
              </a:rPr>
              <a:t>iota</a:t>
            </a:r>
            <a:r>
              <a:rPr lang="en-IN" sz="3200" b="1" dirty="0">
                <a:solidFill>
                  <a:srgbClr val="00B050"/>
                </a:solidFill>
              </a:rPr>
              <a:t>Smart</a:t>
            </a:r>
            <a:endParaRPr lang="en-IN" sz="320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96036"/>
            <a:ext cx="10515600" cy="9946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60DA1-0014-4624-828D-0CD1A16B4F4A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94BC84-0ECF-44CD-8626-FE80913D276B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837073" y="0"/>
            <a:ext cx="18653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200" b="1" dirty="0">
                <a:solidFill>
                  <a:srgbClr val="0070C0"/>
                </a:solidFill>
              </a:rPr>
              <a:t>iota</a:t>
            </a:r>
            <a:r>
              <a:rPr lang="en-IN" sz="3200" b="1" dirty="0">
                <a:solidFill>
                  <a:srgbClr val="00B050"/>
                </a:solidFill>
              </a:rPr>
              <a:t>Smart</a:t>
            </a:r>
            <a:endParaRPr lang="en-IN" sz="3200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70286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23308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30306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EF5AB-A9E5-404F-BCB0-23FA65F4658A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837073" y="0"/>
            <a:ext cx="18653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200" b="1" dirty="0">
                <a:solidFill>
                  <a:srgbClr val="0070C0"/>
                </a:solidFill>
              </a:rPr>
              <a:t>iota</a:t>
            </a:r>
            <a:r>
              <a:rPr lang="en-IN" sz="3200" b="1" dirty="0">
                <a:solidFill>
                  <a:srgbClr val="00B050"/>
                </a:solidFill>
              </a:rPr>
              <a:t>Smart</a:t>
            </a:r>
            <a:endParaRPr lang="en-IN" sz="320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B05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04A1ED-A047-4ABA-A512-1199E32715FE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-190500" y="774700"/>
            <a:ext cx="1016000" cy="4191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743808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1274033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344008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4EAD0-C1DA-4DE5-9E41-2FCFECEFA406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837073" y="0"/>
            <a:ext cx="18653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200" b="1" dirty="0">
                <a:solidFill>
                  <a:srgbClr val="0070C0"/>
                </a:solidFill>
              </a:rPr>
              <a:t>iota</a:t>
            </a:r>
            <a:r>
              <a:rPr lang="en-IN" sz="3200" b="1" dirty="0">
                <a:solidFill>
                  <a:srgbClr val="00B050"/>
                </a:solidFill>
              </a:rPr>
              <a:t>Smart</a:t>
            </a:r>
            <a:endParaRPr lang="en-IN" sz="3200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53847"/>
            <a:ext cx="10515600" cy="103684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5C2F68-7713-4628-A7C1-0BB3E02048C4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04800" y="537959"/>
            <a:ext cx="11887200" cy="0"/>
          </a:xfrm>
          <a:prstGeom prst="line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837073" y="0"/>
            <a:ext cx="18653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200" b="1" dirty="0">
                <a:solidFill>
                  <a:srgbClr val="0070C0"/>
                </a:solidFill>
              </a:rPr>
              <a:t>iota</a:t>
            </a:r>
            <a:r>
              <a:rPr lang="en-IN" sz="3200" b="1" dirty="0">
                <a:solidFill>
                  <a:srgbClr val="00B050"/>
                </a:solidFill>
              </a:rPr>
              <a:t>Smart</a:t>
            </a:r>
            <a:endParaRPr lang="en-IN" sz="3200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F61A0-5721-4E3C-A537-71192AB8F402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2F69B2-7448-435E-8257-A753F94A3363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en-US" dirty="0"/>
              <a:t>iGloble Confidential 2019-20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1982A-F043-47DC-85CA-BB84136ACF33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8629F1-110B-414A-A7E6-4071C9FEE1AC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DC45A-1FC9-41CD-B18D-808A9799320F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C5BDC-E190-45CB-949F-3ED89F5566DF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56201-A83C-4C8A-8B27-3F63CC005B34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FAC9-CD3C-48BE-BB83-2647EF1AC4E8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61F7C5-6133-438C-97A8-3F56869DE9B5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5CBBD-A024-4FED-80B2-6B399A93332A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CECE8B-E82E-4368-B0FC-81F12EEEDFD0}" type="datetime1">
              <a:rPr lang="en-US" smtClean="0"/>
              <a:t>4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r>
              <a:rPr lang="en-US" dirty="0"/>
              <a:t>iGloble Confidential 2019-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iotasmart.com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amit@igloble.com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www.iotasmart.com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hlinkClick r:id="rId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hlinkClick r:id="rId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35760" y="4226510"/>
            <a:ext cx="856488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NECTED IoT PLATFO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Predictive and Prescriptive Analytics Solu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2" descr="C:\Users\amits_000\Downloads\iota_Smart_Whitt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893452" y="395168"/>
            <a:ext cx="1437954" cy="1142561"/>
          </a:xfrm>
          <a:prstGeom prst="rect">
            <a:avLst/>
          </a:prstGeom>
          <a:noFill/>
        </p:spPr>
      </p:pic>
      <p:pic>
        <p:nvPicPr>
          <p:cNvPr id="20482" name="Picture 2" descr="C:\Users\amits_000\Downloads\connected_car_graphic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01828" y="324751"/>
            <a:ext cx="6830096" cy="3790049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9289179" y="1618906"/>
            <a:ext cx="28306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 · Engage · Innov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6D5CBBD-A024-4FED-80B2-6B399A9333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Globle Confidential 2019-20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742678-0C3B-41B2-9951-4E23DE450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6F7ABD-0984-41E6-B321-CECDC8C21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1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A63130-A500-44D0-8CBB-252B7BF1032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74" t="9251" r="9564" b="5390"/>
          <a:stretch/>
        </p:blipFill>
        <p:spPr>
          <a:xfrm>
            <a:off x="0" y="64808"/>
            <a:ext cx="5979459" cy="51795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E44778C-9420-4838-A95B-7688615F502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2" t="9150" r="9129" b="5622"/>
          <a:stretch/>
        </p:blipFill>
        <p:spPr>
          <a:xfrm>
            <a:off x="6096000" y="64809"/>
            <a:ext cx="6096000" cy="51795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5A76596-D256-493F-8566-404074D5C4ED}"/>
              </a:ext>
            </a:extLst>
          </p:cNvPr>
          <p:cNvSpPr txBox="1"/>
          <p:nvPr/>
        </p:nvSpPr>
        <p:spPr>
          <a:xfrm>
            <a:off x="547254" y="5336480"/>
            <a:ext cx="10806546" cy="138499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Graph 1 is showing a negative correlation between Mileage and Total Idle time, i.e. Mileage will reduce as the Idle Time increases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t was observed in Graph 2 that Fuel Consumption was more in case of overspeeding.</a:t>
            </a:r>
          </a:p>
          <a:p>
            <a:pPr marL="342900" indent="-342900">
              <a:buFont typeface="+mj-lt"/>
              <a:buAutoNum type="arabicPeriod"/>
            </a:pPr>
            <a:endParaRPr lang="en-IN" sz="1400" dirty="0"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9264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C4F228-5D68-4E44-A46C-43460B6CD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616"/>
            <a:ext cx="10515600" cy="576984"/>
          </a:xfrm>
        </p:spPr>
        <p:txBody>
          <a:bodyPr>
            <a:normAutofit/>
          </a:bodyPr>
          <a:lstStyle/>
          <a:p>
            <a:r>
              <a:rPr lang="en-IN" sz="3200" dirty="0">
                <a:latin typeface="Lucida Bright" panose="02040602050505020304" pitchFamily="18" charset="0"/>
              </a:rPr>
              <a:t>City 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873672-6BC6-4FAB-90FE-9FFDED494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AFC962-411C-4987-A1F3-E04725D38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1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54C0FF-1002-48D2-9526-EB92D31936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5" t="9811" r="9167" b="6553"/>
          <a:stretch/>
        </p:blipFill>
        <p:spPr>
          <a:xfrm>
            <a:off x="0" y="609600"/>
            <a:ext cx="6012873" cy="51577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E38B2E-425C-4278-805F-8307F7C4646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5" t="8485" r="8878" b="5051"/>
          <a:stretch/>
        </p:blipFill>
        <p:spPr>
          <a:xfrm>
            <a:off x="6096000" y="528918"/>
            <a:ext cx="6012873" cy="527092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8503660-D9B7-42A6-A5AD-368EBEFA3178}"/>
              </a:ext>
            </a:extLst>
          </p:cNvPr>
          <p:cNvSpPr txBox="1"/>
          <p:nvPr/>
        </p:nvSpPr>
        <p:spPr>
          <a:xfrm>
            <a:off x="412648" y="5799840"/>
            <a:ext cx="10806546" cy="95410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dle Instances are high for distance less than 20 km but less for distance greater than 20 km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No overspeeding was observed across all trips.</a:t>
            </a:r>
          </a:p>
        </p:txBody>
      </p:sp>
    </p:spTree>
    <p:extLst>
      <p:ext uri="{BB962C8B-B14F-4D97-AF65-F5344CB8AC3E}">
        <p14:creationId xmlns:p14="http://schemas.microsoft.com/office/powerpoint/2010/main" val="700601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03DB8-79EC-4E89-B3D2-A23CCBE6F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4FD6B56-C66D-4B7A-9EB7-5E48C11516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3" t="8520" r="8796" b="4538"/>
          <a:stretch/>
        </p:blipFill>
        <p:spPr>
          <a:xfrm>
            <a:off x="0" y="62752"/>
            <a:ext cx="6096000" cy="5489171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3E106D-BDEF-483A-82C9-C6753286CE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E6ECAD-0A50-4BCD-A6EB-BCC6A6CB1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12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8AADE0-F0F1-400F-B964-8BB5A58E9EA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39" t="9185" r="8780" b="5324"/>
          <a:stretch/>
        </p:blipFill>
        <p:spPr>
          <a:xfrm>
            <a:off x="6096000" y="62753"/>
            <a:ext cx="5997388" cy="548917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2AC0F8-9178-4EA7-9599-CA64A75A8D8A}"/>
              </a:ext>
            </a:extLst>
          </p:cNvPr>
          <p:cNvSpPr txBox="1"/>
          <p:nvPr/>
        </p:nvSpPr>
        <p:spPr>
          <a:xfrm>
            <a:off x="376788" y="5596140"/>
            <a:ext cx="10806546" cy="1169551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n Graph 1 the Clutch was pressed for more than 60% of the Total Idle Time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Graph 2 is showing the effect of Clutch pressed in Idle Time and Total Idle Time on Driver Score across all trips. The more these 2 parameters are the less the Driver Score will be.</a:t>
            </a:r>
          </a:p>
        </p:txBody>
      </p:sp>
    </p:spTree>
    <p:extLst>
      <p:ext uri="{BB962C8B-B14F-4D97-AF65-F5344CB8AC3E}">
        <p14:creationId xmlns:p14="http://schemas.microsoft.com/office/powerpoint/2010/main" val="20413942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38DFC-047B-4C07-90EA-56EC599B5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706293"/>
          </a:xfrm>
        </p:spPr>
        <p:txBody>
          <a:bodyPr>
            <a:normAutofit/>
          </a:bodyPr>
          <a:lstStyle/>
          <a:p>
            <a:r>
              <a:rPr lang="en-IN" sz="3200" dirty="0">
                <a:latin typeface="Lucida Bright" panose="02040602050505020304" pitchFamily="18" charset="0"/>
              </a:rPr>
              <a:t>City 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3C0B0A-6C1B-41EB-B116-367EFF3F2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78AF0B-C1DB-467C-A1F0-825316440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13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FA48D40-EB13-4470-BF44-C70EFB542D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4" t="9292" r="8877" b="5320"/>
          <a:stretch/>
        </p:blipFill>
        <p:spPr>
          <a:xfrm>
            <a:off x="69272" y="706293"/>
            <a:ext cx="5962073" cy="463018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32D9566-37D4-47BB-A964-FC0189F5AB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5" t="9659" r="9319" b="6705"/>
          <a:stretch/>
        </p:blipFill>
        <p:spPr>
          <a:xfrm>
            <a:off x="6096000" y="706292"/>
            <a:ext cx="6026728" cy="452013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7F98EEB-624C-46AF-ADF5-DBCA270C6F16}"/>
              </a:ext>
            </a:extLst>
          </p:cNvPr>
          <p:cNvSpPr txBox="1"/>
          <p:nvPr/>
        </p:nvSpPr>
        <p:spPr>
          <a:xfrm>
            <a:off x="554181" y="5336480"/>
            <a:ext cx="10806546" cy="138499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dle Instances are high for distances less than 20 km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No overspeeding was observe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Mileage for shorter distances was observed to be 17 - 24 kmpl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Driver Score was around 4 </a:t>
            </a:r>
          </a:p>
        </p:txBody>
      </p:sp>
    </p:spTree>
    <p:extLst>
      <p:ext uri="{BB962C8B-B14F-4D97-AF65-F5344CB8AC3E}">
        <p14:creationId xmlns:p14="http://schemas.microsoft.com/office/powerpoint/2010/main" val="31617197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479C67-F2BA-439B-A9D4-7BC567D9F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485864-9F3C-4EFD-B2B6-C0CB8BE94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1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F2D753-F5D9-4E69-826F-22E970DC07F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5" t="8485" r="9058" b="5185"/>
          <a:stretch/>
        </p:blipFill>
        <p:spPr>
          <a:xfrm>
            <a:off x="930427" y="136524"/>
            <a:ext cx="9827220" cy="51999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B16AFFF-4E3F-4714-9254-F98DEC5A1186}"/>
              </a:ext>
            </a:extLst>
          </p:cNvPr>
          <p:cNvSpPr txBox="1"/>
          <p:nvPr/>
        </p:nvSpPr>
        <p:spPr>
          <a:xfrm>
            <a:off x="547254" y="5336480"/>
            <a:ext cx="10806546" cy="138499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Bright" panose="02040602050505020304" pitchFamily="18" charset="0"/>
              </a:rPr>
              <a:t>Findings:</a:t>
            </a:r>
          </a:p>
          <a:p>
            <a:endParaRPr lang="en-IN" sz="1400" dirty="0">
              <a:latin typeface="Lucida Bright" panose="020406020505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Bright" panose="02040602050505020304" pitchFamily="18" charset="0"/>
              </a:rPr>
              <a:t>Idle Instances are low for distances more than 20 km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Bright" panose="02040602050505020304" pitchFamily="18" charset="0"/>
              </a:rPr>
              <a:t>No overspeeding was observe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Bright" panose="02040602050505020304" pitchFamily="18" charset="0"/>
              </a:rPr>
              <a:t>Mileage for longer distances was observed to be above 26 kmpl which is goo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Bright" panose="02040602050505020304" pitchFamily="18" charset="0"/>
              </a:rPr>
              <a:t>Driver Score is around 4 for these trips.</a:t>
            </a:r>
          </a:p>
        </p:txBody>
      </p:sp>
    </p:spTree>
    <p:extLst>
      <p:ext uri="{BB962C8B-B14F-4D97-AF65-F5344CB8AC3E}">
        <p14:creationId xmlns:p14="http://schemas.microsoft.com/office/powerpoint/2010/main" val="42903595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252C82-36B1-401A-ACB9-C885F5EA6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E2D209-D70E-4737-8EC5-522AC5CE1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15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087E41-9EB3-4E15-B6F4-34DE1B6EE31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7" t="8889" r="8781" b="5490"/>
          <a:stretch/>
        </p:blipFill>
        <p:spPr>
          <a:xfrm>
            <a:off x="0" y="145491"/>
            <a:ext cx="6311153" cy="56129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20ACD1D-41CF-4E11-883E-CF0AC38E9B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8" t="8523" r="9108" b="4709"/>
          <a:stretch/>
        </p:blipFill>
        <p:spPr>
          <a:xfrm>
            <a:off x="6436661" y="136526"/>
            <a:ext cx="5647763" cy="562187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4C576B2-8E2E-411D-8ECA-B0AB61765B73}"/>
              </a:ext>
            </a:extLst>
          </p:cNvPr>
          <p:cNvSpPr txBox="1"/>
          <p:nvPr/>
        </p:nvSpPr>
        <p:spPr>
          <a:xfrm>
            <a:off x="376789" y="5758403"/>
            <a:ext cx="10806546" cy="95410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n graph 1 it was observed that for more than 30% of the Idle Time, Clutch was presse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Graph 2 is showing Mileage is more for long distances as compared to short distances.</a:t>
            </a:r>
          </a:p>
        </p:txBody>
      </p:sp>
    </p:spTree>
    <p:extLst>
      <p:ext uri="{BB962C8B-B14F-4D97-AF65-F5344CB8AC3E}">
        <p14:creationId xmlns:p14="http://schemas.microsoft.com/office/powerpoint/2010/main" val="21698426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93C58-6263-453A-B530-BDFDD39A3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200" dirty="0">
                <a:latin typeface="Lucida Bright" panose="02040602050505020304" pitchFamily="18" charset="0"/>
              </a:rPr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D3CE47-2330-452C-94D6-C183BDA6DF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N" sz="1800" dirty="0">
                <a:latin typeface="Lucida Fax" panose="02060602050505020204" pitchFamily="18" charset="0"/>
              </a:rPr>
              <a:t>Idle Instances are high for short distance and less for long distance.</a:t>
            </a:r>
          </a:p>
          <a:p>
            <a:r>
              <a:rPr lang="en-IN" sz="1800" dirty="0">
                <a:latin typeface="Lucida Fax" panose="02060602050505020204" pitchFamily="18" charset="0"/>
              </a:rPr>
              <a:t>Fuel Consumption is affected by:</a:t>
            </a:r>
          </a:p>
          <a:p>
            <a:pPr lvl="1"/>
            <a:r>
              <a:rPr lang="en-IN" sz="1800" dirty="0">
                <a:latin typeface="Lucida Fax" panose="02060602050505020204" pitchFamily="18" charset="0"/>
              </a:rPr>
              <a:t>Overspeeding</a:t>
            </a:r>
          </a:p>
          <a:p>
            <a:pPr lvl="1"/>
            <a:r>
              <a:rPr lang="en-IN" sz="1800" dirty="0">
                <a:latin typeface="Lucida Fax" panose="02060602050505020204" pitchFamily="18" charset="0"/>
              </a:rPr>
              <a:t>AC on/off</a:t>
            </a:r>
          </a:p>
          <a:p>
            <a:pPr lvl="1"/>
            <a:r>
              <a:rPr lang="en-IN" sz="1800" dirty="0">
                <a:latin typeface="Lucida Fax" panose="02060602050505020204" pitchFamily="18" charset="0"/>
              </a:rPr>
              <a:t>Idling Instances and Idling Time</a:t>
            </a:r>
          </a:p>
          <a:p>
            <a:pPr lvl="1"/>
            <a:r>
              <a:rPr lang="en-IN" sz="1800" dirty="0">
                <a:latin typeface="Lucida Fax" panose="02060602050505020204" pitchFamily="18" charset="0"/>
              </a:rPr>
              <a:t>Clutch pressed in Idling.</a:t>
            </a:r>
          </a:p>
          <a:p>
            <a:pPr marL="342900" lvl="1" indent="-342900"/>
            <a:r>
              <a:rPr lang="en-IN" sz="1800" dirty="0">
                <a:latin typeface="Lucida Fax" panose="02060602050505020204" pitchFamily="18" charset="0"/>
              </a:rPr>
              <a:t>Mileage is majorly affected by Idling Time</a:t>
            </a:r>
          </a:p>
          <a:p>
            <a:pPr marL="342900" lvl="1" indent="-342900"/>
            <a:r>
              <a:rPr lang="en-IN" sz="1800" dirty="0">
                <a:latin typeface="Lucida Fax" panose="02060602050505020204" pitchFamily="18" charset="0"/>
              </a:rPr>
              <a:t>Driver Score is majorly affected by Clutch pressed during Idling.</a:t>
            </a:r>
          </a:p>
          <a:p>
            <a:pPr marL="342900" lvl="1" indent="-342900"/>
            <a:r>
              <a:rPr lang="en-IN" sz="1800" dirty="0">
                <a:latin typeface="Lucida Fax" panose="02060602050505020204" pitchFamily="18" charset="0"/>
              </a:rPr>
              <a:t>AC was on in all the trips.</a:t>
            </a:r>
          </a:p>
          <a:p>
            <a:pPr marL="342900" lvl="1" indent="-342900"/>
            <a:r>
              <a:rPr lang="en-IN" sz="1800" dirty="0">
                <a:latin typeface="Lucida Fax" panose="02060602050505020204" pitchFamily="18" charset="0"/>
              </a:rPr>
              <a:t>No Overspeeding was recorded in any of the trips of Honda City cars as compared to Honda Amaze.</a:t>
            </a:r>
          </a:p>
          <a:p>
            <a:pPr marL="342900" lvl="1" indent="-342900"/>
            <a:r>
              <a:rPr lang="en-IN" sz="1800" dirty="0">
                <a:latin typeface="Lucida Fax" panose="02060602050505020204" pitchFamily="18" charset="0"/>
              </a:rPr>
              <a:t>Mileage of City cars are better than Amaze cars.</a:t>
            </a:r>
          </a:p>
          <a:p>
            <a:pPr marL="342900" lvl="1" indent="-342900"/>
            <a:endParaRPr lang="en-IN" sz="1800" dirty="0">
              <a:latin typeface="Lucida Fax" panose="02060602050505020204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3D0C66-5862-4682-9B37-D29E4D6EE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E06F7E-D50D-494B-BD94-1E146F4EC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4237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458" name="Picture 2" descr="C:\Users\amits_000\Downloads\iota_Smart_Whitt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13320" y="1046409"/>
            <a:ext cx="1820129" cy="1446227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7233139" y="4421876"/>
            <a:ext cx="3821548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. Amit Shekh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/>
              </a:rPr>
              <a:t>amit@igloble.com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Mob: +91 9650077258</a:t>
            </a:r>
            <a:endParaRPr kumimoji="0" lang="en-IN" sz="18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hlinkClick r:id="rId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www.iotasmart.com</a:t>
            </a: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4093029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075" y="4278855"/>
            <a:ext cx="29888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ank you!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57F1E4F-1CFF-5643-939E-217C01CDF5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C59B0-142A-4BD8-929B-1D13030C0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Lucida Bright" panose="02040602050505020304" pitchFamily="18" charset="0"/>
              </a:rPr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8FDA05-83C0-4E21-BFCD-F1A681DB64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1800" dirty="0">
                <a:latin typeface="Lucida Fax" panose="02060602050505020204" pitchFamily="18" charset="0"/>
              </a:rPr>
              <a:t>To analyse the Honda car data for Delhi cit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712670-A2E5-4515-960B-5B18F20AB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8037EB-F2E7-46FD-B6D9-7228966D7A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5716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61801"/>
            <a:ext cx="10515600" cy="576169"/>
          </a:xfrm>
        </p:spPr>
        <p:txBody>
          <a:bodyPr>
            <a:normAutofit fontScale="90000"/>
          </a:bodyPr>
          <a:lstStyle/>
          <a:p>
            <a:r>
              <a:rPr lang="en-US" altLang="en-US" sz="4000" dirty="0">
                <a:latin typeface="Lucida Bright" panose="02040602050505020304" pitchFamily="18" charset="0"/>
                <a:cs typeface="Abyssinica SIL" panose="02000603020000020004" charset="0"/>
              </a:rPr>
              <a:t>Find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9579" y="1477449"/>
            <a:ext cx="10515600" cy="4351338"/>
          </a:xfrm>
        </p:spPr>
        <p:txBody>
          <a:bodyPr>
            <a:normAutofit/>
          </a:bodyPr>
          <a:lstStyle/>
          <a:p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4 vehicles were observed in Delhi 2 Amaze and 2 City.</a:t>
            </a:r>
          </a:p>
          <a:p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The data is from 21 September to 6 October, 2015.</a:t>
            </a:r>
          </a:p>
          <a:p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It was observed that all the cars were Diesel.</a:t>
            </a:r>
          </a:p>
          <a:p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No Hard Acceleration or Hard Breaking was observed in any of the trips.</a:t>
            </a:r>
          </a:p>
          <a:p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The trips were divided in 3 categories according to Distance:</a:t>
            </a:r>
          </a:p>
          <a:p>
            <a:pPr lvl="1"/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Cat 1: Distance less than 5 km.</a:t>
            </a:r>
          </a:p>
          <a:p>
            <a:pPr lvl="1"/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Cat 2: Distance from 5 – 20 km.</a:t>
            </a:r>
          </a:p>
          <a:p>
            <a:pPr lvl="1"/>
            <a:r>
              <a:rPr lang="en-US" altLang="en-US" sz="1400" dirty="0">
                <a:latin typeface="Lucida Fax" panose="02060602050505020204" pitchFamily="18" charset="0"/>
                <a:cs typeface="Bitstream Charter" charset="0"/>
              </a:rPr>
              <a:t>Cat 3: Distance Above 20 km.</a:t>
            </a:r>
          </a:p>
          <a:p>
            <a:pPr marL="457200" lvl="1" indent="0">
              <a:buNone/>
            </a:pPr>
            <a:endParaRPr lang="en-US" altLang="en-US" sz="1400" dirty="0">
              <a:latin typeface="Lucida Fax" panose="02060602050505020204" pitchFamily="18" charset="0"/>
              <a:cs typeface="Bitstream Charter" charset="0"/>
            </a:endParaRPr>
          </a:p>
          <a:p>
            <a:pPr marL="0" lvl="1" indent="0">
              <a:buNone/>
            </a:pPr>
            <a:endParaRPr lang="en-US" altLang="en-US" sz="1400" dirty="0">
              <a:latin typeface="Lucida Fax" panose="02060602050505020204" pitchFamily="18" charset="0"/>
              <a:cs typeface="Bitstream Charter" charset="0"/>
            </a:endParaRPr>
          </a:p>
          <a:p>
            <a:endParaRPr lang="en-US" altLang="en-US" sz="1400" dirty="0">
              <a:latin typeface="Lucida Fax" panose="02060602050505020204" pitchFamily="18" charset="0"/>
              <a:cs typeface="Bitstream Charter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3</a:t>
            </a:fld>
            <a:endParaRPr lang="en-US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16D270A8-4DF2-47DE-B2B8-00A0F7C43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712548"/>
              </p:ext>
            </p:extLst>
          </p:nvPr>
        </p:nvGraphicFramePr>
        <p:xfrm>
          <a:off x="932329" y="4280106"/>
          <a:ext cx="10310092" cy="17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5166">
                  <a:extLst>
                    <a:ext uri="{9D8B030D-6E8A-4147-A177-3AD203B41FA5}">
                      <a16:colId xmlns:a16="http://schemas.microsoft.com/office/drawing/2014/main" val="3223237413"/>
                    </a:ext>
                  </a:extLst>
                </a:gridCol>
                <a:gridCol w="2922414">
                  <a:extLst>
                    <a:ext uri="{9D8B030D-6E8A-4147-A177-3AD203B41FA5}">
                      <a16:colId xmlns:a16="http://schemas.microsoft.com/office/drawing/2014/main" val="2184562768"/>
                    </a:ext>
                  </a:extLst>
                </a:gridCol>
                <a:gridCol w="2622386">
                  <a:extLst>
                    <a:ext uri="{9D8B030D-6E8A-4147-A177-3AD203B41FA5}">
                      <a16:colId xmlns:a16="http://schemas.microsoft.com/office/drawing/2014/main" val="523112140"/>
                    </a:ext>
                  </a:extLst>
                </a:gridCol>
                <a:gridCol w="2770126">
                  <a:extLst>
                    <a:ext uri="{9D8B030D-6E8A-4147-A177-3AD203B41FA5}">
                      <a16:colId xmlns:a16="http://schemas.microsoft.com/office/drawing/2014/main" val="12488957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Bright" panose="02040602050505020304" pitchFamily="18" charset="0"/>
                        </a:rPr>
                        <a:t>Cars\No. of Tri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Bright" panose="02040602050505020304" pitchFamily="18" charset="0"/>
                        </a:rPr>
                        <a:t>Distance less than 5 k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Bright" panose="02040602050505020304" pitchFamily="18" charset="0"/>
                        </a:rPr>
                        <a:t>Distance 5 – 20 k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Bright" panose="02040602050505020304" pitchFamily="18" charset="0"/>
                        </a:rPr>
                        <a:t>Distance greater than 20 k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24202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Amaz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891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Amaz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26162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City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4098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City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Lucida Fax" panose="02060602050505020204" pitchFamily="18" charset="0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857173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2E127-6ED0-43F8-9539-E96179F9FD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7363" y="59604"/>
            <a:ext cx="10515600" cy="623888"/>
          </a:xfrm>
        </p:spPr>
        <p:txBody>
          <a:bodyPr>
            <a:normAutofit/>
          </a:bodyPr>
          <a:lstStyle/>
          <a:p>
            <a:r>
              <a:rPr lang="en-IN" sz="3200" dirty="0">
                <a:latin typeface="Lucida Bright" panose="02040602050505020304" pitchFamily="18" charset="0"/>
              </a:rPr>
              <a:t>Amaze 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6167E-EA8C-4EED-9025-BAE6C2953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4</a:t>
            </a:fld>
            <a:endParaRPr lang="en-US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120EF9B0-49C2-4B16-A7E5-AC99EACDE6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6" t="9562" r="9327" b="5325"/>
          <a:stretch/>
        </p:blipFill>
        <p:spPr>
          <a:xfrm>
            <a:off x="1" y="683492"/>
            <a:ext cx="5226422" cy="4729908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19DA88A-EB83-41F6-B044-4453834200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61" t="9507" r="9167" b="6705"/>
          <a:stretch/>
        </p:blipFill>
        <p:spPr>
          <a:xfrm>
            <a:off x="5325035" y="655747"/>
            <a:ext cx="6866965" cy="4757653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227939CF-E9DC-4B1B-8F9E-21869ABEBD8D}"/>
              </a:ext>
            </a:extLst>
          </p:cNvPr>
          <p:cNvSpPr txBox="1"/>
          <p:nvPr/>
        </p:nvSpPr>
        <p:spPr>
          <a:xfrm>
            <a:off x="436417" y="5413401"/>
            <a:ext cx="10806546" cy="138499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  <a:scene3d>
            <a:camera prst="obliqueBottomRight"/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dle Instances are high for distance less than 20 km signifying traffic in the city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No overspeeding was observe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Mileage for shorter distances was observed to be 10-16 kmpl which is very low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Driver Score is around 4 for these trips.</a:t>
            </a:r>
          </a:p>
        </p:txBody>
      </p:sp>
    </p:spTree>
    <p:extLst>
      <p:ext uri="{BB962C8B-B14F-4D97-AF65-F5344CB8AC3E}">
        <p14:creationId xmlns:p14="http://schemas.microsoft.com/office/powerpoint/2010/main" val="644990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7795E8-4F8F-493A-8930-4F381D7E2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0448BA-3500-4E6F-8656-494CAF1964C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5" t="9562" r="9327" b="5724"/>
          <a:stretch/>
        </p:blipFill>
        <p:spPr>
          <a:xfrm>
            <a:off x="1395555" y="136525"/>
            <a:ext cx="8321965" cy="48831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89E856C-2F25-47C9-858F-8909E4B368E5}"/>
              </a:ext>
            </a:extLst>
          </p:cNvPr>
          <p:cNvSpPr txBox="1"/>
          <p:nvPr/>
        </p:nvSpPr>
        <p:spPr>
          <a:xfrm>
            <a:off x="547254" y="5121037"/>
            <a:ext cx="10806546" cy="1600438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63500"/>
          </a:effectLst>
          <a:scene3d>
            <a:camera prst="obliqueBottomRight"/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dle Instances are low for distances more than 20 km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20 % – 60 % overspeeding was observed in longer trips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Mileage for longer distances was observed to be above 20 kmpl which is goo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Driver Score is around 4 for these trips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t was observed that Fuel Consumption was more in case of overspeeding.</a:t>
            </a:r>
          </a:p>
        </p:txBody>
      </p:sp>
    </p:spTree>
    <p:extLst>
      <p:ext uri="{BB962C8B-B14F-4D97-AF65-F5344CB8AC3E}">
        <p14:creationId xmlns:p14="http://schemas.microsoft.com/office/powerpoint/2010/main" val="1895633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04BAA-5CC7-434B-A2CA-EDF53B493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D41EB3D-F90C-4D99-B3F0-1A32F33611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2" t="9324" r="8644" b="5134"/>
          <a:stretch/>
        </p:blipFill>
        <p:spPr>
          <a:xfrm>
            <a:off x="116541" y="90054"/>
            <a:ext cx="5979459" cy="5402985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3F49D6-A7F1-421E-86E5-AFF6394A9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A47D85-A4B9-4AD1-BBFC-65981165B6B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4" t="9159" r="9326" b="5324"/>
          <a:stretch/>
        </p:blipFill>
        <p:spPr>
          <a:xfrm>
            <a:off x="6158754" y="90054"/>
            <a:ext cx="5916706" cy="546187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ADB7CEF-6650-4D47-A385-5E2676B36CC7}"/>
              </a:ext>
            </a:extLst>
          </p:cNvPr>
          <p:cNvSpPr txBox="1"/>
          <p:nvPr/>
        </p:nvSpPr>
        <p:spPr>
          <a:xfrm>
            <a:off x="547254" y="5688449"/>
            <a:ext cx="10806546" cy="1169551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  <a:scene3d>
            <a:camera prst="obliqueBottomRight"/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Graph 1 is showing a positive correlation between Mileage and Total Distance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Graph 2 is showing a negative correlation between Mileage and Total Idle time, i.e. Mileage will reduce as the Idle Time increases.</a:t>
            </a:r>
          </a:p>
        </p:txBody>
      </p:sp>
    </p:spTree>
    <p:extLst>
      <p:ext uri="{BB962C8B-B14F-4D97-AF65-F5344CB8AC3E}">
        <p14:creationId xmlns:p14="http://schemas.microsoft.com/office/powerpoint/2010/main" val="6985743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47EB8-AED2-4BC1-BCB0-575AF55F2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687820"/>
          </a:xfrm>
        </p:spPr>
        <p:txBody>
          <a:bodyPr>
            <a:normAutofit/>
          </a:bodyPr>
          <a:lstStyle/>
          <a:p>
            <a:r>
              <a:rPr lang="en-IN" sz="3200" dirty="0">
                <a:latin typeface="Lucida Bright" panose="02040602050505020304" pitchFamily="18" charset="0"/>
              </a:rPr>
              <a:t>Amaze 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243923-FD38-4392-811F-AA9900732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A4BA6-0CD8-4D64-974E-B259509F0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7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9037C9-A3B6-4B5E-BADF-D14B1C5236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3" t="8889" r="9596" b="5320"/>
          <a:stretch/>
        </p:blipFill>
        <p:spPr>
          <a:xfrm>
            <a:off x="0" y="580303"/>
            <a:ext cx="6022109" cy="49716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45C81B-BE7B-4DD3-9961-650A1A866E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36" t="9962" r="9318" b="7008"/>
          <a:stretch/>
        </p:blipFill>
        <p:spPr>
          <a:xfrm>
            <a:off x="6096000" y="580303"/>
            <a:ext cx="6022109" cy="487023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490C470-6A79-4908-940E-737204D77774}"/>
              </a:ext>
            </a:extLst>
          </p:cNvPr>
          <p:cNvSpPr txBox="1"/>
          <p:nvPr/>
        </p:nvSpPr>
        <p:spPr>
          <a:xfrm>
            <a:off x="547254" y="5551924"/>
            <a:ext cx="10806546" cy="1169551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dle Instances are high for distances less than 20 km signifying traffic in the city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No overspeeding was observe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Mileage for shorter distances was observed to be 8-22 kmpl which is very low.</a:t>
            </a:r>
          </a:p>
        </p:txBody>
      </p:sp>
    </p:spTree>
    <p:extLst>
      <p:ext uri="{BB962C8B-B14F-4D97-AF65-F5344CB8AC3E}">
        <p14:creationId xmlns:p14="http://schemas.microsoft.com/office/powerpoint/2010/main" val="1658455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EBB573-09DC-4A3E-A20A-6ECF713F11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845A6E-EEB6-44D0-B38A-1D762744C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A5DDC3-A4FC-49C7-B69F-385071FFD5F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17" t="8462" r="8609" b="5859"/>
          <a:stretch/>
        </p:blipFill>
        <p:spPr>
          <a:xfrm>
            <a:off x="1549400" y="136526"/>
            <a:ext cx="8432800" cy="51167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863D64-4718-43BC-93FA-3951DE8344A8}"/>
              </a:ext>
            </a:extLst>
          </p:cNvPr>
          <p:cNvSpPr txBox="1"/>
          <p:nvPr/>
        </p:nvSpPr>
        <p:spPr>
          <a:xfrm>
            <a:off x="547254" y="5336479"/>
            <a:ext cx="10806546" cy="138499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dle Instances are low for distances more than 20 km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8% - 20 % overspeeding was observed in longer trips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Mileage for longer distances was observed to be above 20 kmpl which is good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t was observed that Fuel Consumption was more in case of overspeeding.</a:t>
            </a:r>
          </a:p>
        </p:txBody>
      </p:sp>
    </p:spTree>
    <p:extLst>
      <p:ext uri="{BB962C8B-B14F-4D97-AF65-F5344CB8AC3E}">
        <p14:creationId xmlns:p14="http://schemas.microsoft.com/office/powerpoint/2010/main" val="296154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3A3A6-32FD-462D-89AB-3EE2D4EE1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EC986FD-ED4A-4B96-828B-D74837D88D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21" t="8726" r="9482" b="5157"/>
          <a:stretch/>
        </p:blipFill>
        <p:spPr>
          <a:xfrm>
            <a:off x="0" y="-1"/>
            <a:ext cx="5961529" cy="5798145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577DC-11FC-46B3-B6D8-6CCBDFA3A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loble Confidential 2019-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216FAB-4F3C-4C79-BB00-0F5B0ADF3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CBBD-A024-4FED-80B2-6B399A93332A}" type="slidenum">
              <a:rPr lang="en-US" smtClean="0"/>
              <a:t>9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2496A6-6222-4383-985D-ECED9DC408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74" t="9020" r="9041" b="5324"/>
          <a:stretch/>
        </p:blipFill>
        <p:spPr>
          <a:xfrm>
            <a:off x="6095999" y="44977"/>
            <a:ext cx="6096001" cy="572239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FDBC541-616A-4130-A428-1AC9E53B3C83}"/>
              </a:ext>
            </a:extLst>
          </p:cNvPr>
          <p:cNvSpPr txBox="1"/>
          <p:nvPr/>
        </p:nvSpPr>
        <p:spPr>
          <a:xfrm>
            <a:off x="547254" y="5798145"/>
            <a:ext cx="10806546" cy="95410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IN" sz="1400" b="1" dirty="0">
                <a:latin typeface="Lucida Fax" panose="02060602050505020204" pitchFamily="18" charset="0"/>
              </a:rPr>
              <a:t>Findings:</a:t>
            </a:r>
          </a:p>
          <a:p>
            <a:endParaRPr lang="en-IN" sz="1400" dirty="0">
              <a:latin typeface="Lucida Fax" panose="02060602050505020204" pitchFamily="18" charset="0"/>
            </a:endParaRPr>
          </a:p>
          <a:p>
            <a:pPr marL="342900" indent="-342900"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Graph 1 is showing a negative correlation between ‘Clutch pressed in Idling’ and ‘Driver Score’.</a:t>
            </a:r>
          </a:p>
          <a:p>
            <a:pPr marL="342900" indent="-342900">
              <a:buAutoNum type="arabicPeriod"/>
            </a:pPr>
            <a:r>
              <a:rPr lang="en-IN" sz="1400" dirty="0">
                <a:latin typeface="Lucida Fax" panose="02060602050505020204" pitchFamily="18" charset="0"/>
              </a:rPr>
              <a:t>It was observed in graph 2 that 50% - 80 % of the times the clutch was pressed in Total Idle Time of all trips.</a:t>
            </a:r>
          </a:p>
        </p:txBody>
      </p:sp>
    </p:spTree>
    <p:extLst>
      <p:ext uri="{BB962C8B-B14F-4D97-AF65-F5344CB8AC3E}">
        <p14:creationId xmlns:p14="http://schemas.microsoft.com/office/powerpoint/2010/main" val="736951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0</TotalTime>
  <Words>867</Words>
  <Application>Microsoft Office PowerPoint</Application>
  <PresentationFormat>Widescreen</PresentationFormat>
  <Paragraphs>152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Calibri Light</vt:lpstr>
      <vt:lpstr>Lucida Bright</vt:lpstr>
      <vt:lpstr>Lucida Fax</vt:lpstr>
      <vt:lpstr>1_Office Theme</vt:lpstr>
      <vt:lpstr>2_Office Theme</vt:lpstr>
      <vt:lpstr>think-cell Slide</vt:lpstr>
      <vt:lpstr>PowerPoint Presentation</vt:lpstr>
      <vt:lpstr>Objective</vt:lpstr>
      <vt:lpstr>Findings</vt:lpstr>
      <vt:lpstr>Amaze 1</vt:lpstr>
      <vt:lpstr>PowerPoint Presentation</vt:lpstr>
      <vt:lpstr>PowerPoint Presentation</vt:lpstr>
      <vt:lpstr>Amaze 2</vt:lpstr>
      <vt:lpstr>PowerPoint Presentation</vt:lpstr>
      <vt:lpstr>PowerPoint Presentation</vt:lpstr>
      <vt:lpstr>PowerPoint Presentation</vt:lpstr>
      <vt:lpstr>City 1</vt:lpstr>
      <vt:lpstr>PowerPoint Presentation</vt:lpstr>
      <vt:lpstr>City 2</vt:lpstr>
      <vt:lpstr>PowerPoint Presentation</vt:lpstr>
      <vt:lpstr>PowerPoint Presentation</vt:lpstr>
      <vt:lpstr>Summa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loble Solutions</dc:creator>
  <cp:lastModifiedBy>Poshita</cp:lastModifiedBy>
  <cp:revision>44</cp:revision>
  <dcterms:created xsi:type="dcterms:W3CDTF">2019-05-21T12:43:44Z</dcterms:created>
  <dcterms:modified xsi:type="dcterms:W3CDTF">2020-04-06T22:3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1.0.8392</vt:lpwstr>
  </property>
</Properties>
</file>